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3"/>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E208898A-C382-4E94-985E-C2D851C9E889}">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notesMaster" Target="notesMasters/notesMaster1.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5/10/relationships/revisionInfo" Target="revisionInfo.xml"/><Relationship Id="rId59"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8534915836828727</c:v>
                </c:pt>
                <c:pt idx="3">
                  <c:v>0.0020579282678446667</c:v>
                </c:pt>
                <c:pt idx="4">
                  <c:v>0.008691429538801363</c:v>
                </c:pt>
                <c:pt idx="5">
                  <c:v>0.00561450148369166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309779432539336</c:v>
                </c:pt>
                <c:pt idx="2">
                  <c:v>0.006490863744179826</c:v>
                </c:pt>
                <c:pt idx="3">
                  <c:v>0.03290766269344465</c:v>
                </c:pt>
                <c:pt idx="4">
                  <c:v>0.0803559931619795</c:v>
                </c:pt>
                <c:pt idx="5">
                  <c:v>0.00760501830997145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06395884727534562</c:v>
                </c:pt>
                <c:pt idx="5">
                  <c:v>0.000743369103610259</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989003417333752</c:v>
                </c:pt>
                <c:pt idx="1">
                  <c:v>0.0009573028602010366</c:v>
                </c:pt>
                <c:pt idx="2">
                  <c:v>0.031136469654783294</c:v>
                </c:pt>
                <c:pt idx="3">
                  <c:v>0.04669605609627021</c:v>
                </c:pt>
                <c:pt idx="4">
                  <c:v>0.15538116451674433</c:v>
                </c:pt>
                <c:pt idx="5">
                  <c:v>0.124844894646435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3305344230185403</c:v>
                </c:pt>
                <c:pt idx="1">
                  <c:v>0.010100016802835855</c:v>
                </c:pt>
                <c:pt idx="2">
                  <c:v>0.04209567813431521</c:v>
                </c:pt>
                <c:pt idx="3">
                  <c:v>0.1108136704310415</c:v>
                </c:pt>
                <c:pt idx="4">
                  <c:v>0.05119204051414118</c:v>
                </c:pt>
                <c:pt idx="5">
                  <c:v>0.0025822890538799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1</c:v>
                </c:pt>
                <c:pt idx="1">
                  <c:v>0.033746952717115544</c:v>
                </c:pt>
                <c:pt idx="2">
                  <c:v>0.1192322273957106</c:v>
                </c:pt>
                <c:pt idx="3">
                  <c:v>0.22555260391768006</c:v>
                </c:pt>
                <c:pt idx="4">
                  <c:v>0.4248321911184583</c:v>
                </c:pt>
                <c:pt idx="5">
                  <c:v>0.1921441325302992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9209156440494895</c:v>
                </c:pt>
                <c:pt idx="4">
                  <c:v>0.024329626608394724</c:v>
                </c:pt>
                <c:pt idx="5">
                  <c:v>0.0032205345255913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7642752446729</c:v>
                </c:pt>
                <c:pt idx="4">
                  <c:v>0.025567123997860344</c:v>
                </c:pt>
                <c:pt idx="5">
                  <c:v>0.4786686007574667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7642752446729</c:v>
                </c:pt>
                <c:pt idx="4">
                  <c:v>0.025567123997860344</c:v>
                </c:pt>
                <c:pt idx="5">
                  <c:v>0.4786686007574667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4762365277406</c:v>
                </c:pt>
                <c:pt idx="4">
                  <c:v>0.022392250263764745</c:v>
                </c:pt>
                <c:pt idx="5">
                  <c:v>0.48755572297648175</c:v>
                </c:pt>
                <c:pt idx="6">
                  <c:v>0.003995413378428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12973106886513</c:v>
                </c:pt>
                <c:pt idx="1">
                  <c:v>0.029687248740982775</c:v>
                </c:pt>
                <c:pt idx="2">
                  <c:v>0.12761672668444915</c:v>
                </c:pt>
                <c:pt idx="3">
                  <c:v>0.25473659732550125</c:v>
                </c:pt>
                <c:pt idx="4">
                  <c:v>0.39683477834621467</c:v>
                </c:pt>
                <c:pt idx="5">
                  <c:v>0.17961729434078058</c:v>
                </c:pt>
                <c:pt idx="6">
                  <c:v>0.004294381455185054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94501430757998</c:v>
                </c:pt>
                <c:pt idx="2">
                  <c:v>0.02019369356434729</c:v>
                </c:pt>
                <c:pt idx="3">
                  <c:v>0.02430781440921656</c:v>
                </c:pt>
                <c:pt idx="4">
                  <c:v>0.037915107255730794</c:v>
                </c:pt>
                <c:pt idx="5">
                  <c:v>0.02120300551780114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728419302958015</c:v>
                </c:pt>
                <c:pt idx="3">
                  <c:v>0.004598378559032363</c:v>
                </c:pt>
                <c:pt idx="4">
                  <c:v>0.010320319081193748</c:v>
                </c:pt>
                <c:pt idx="5">
                  <c:v>0.004901771871985509</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0371959226326035</c:v>
                </c:pt>
                <c:pt idx="2">
                  <c:v>0.010847927820421347</c:v>
                </c:pt>
                <c:pt idx="3">
                  <c:v>0.04441322097233766</c:v>
                </c:pt>
                <c:pt idx="4">
                  <c:v>0.08354976817855016</c:v>
                </c:pt>
                <c:pt idx="5">
                  <c:v>0.007533545431914907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1006513614886678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27147907438995263</c:v>
                </c:pt>
                <c:pt idx="3">
                  <c:v>0.04256252060218713</c:v>
                </c:pt>
                <c:pt idx="4">
                  <c:v>0.12157802236443795</c:v>
                </c:pt>
                <c:pt idx="5">
                  <c:v>0.1295283228496849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044950873540862</c:v>
                </c:pt>
                <c:pt idx="1">
                  <c:v>0.016257894232114475</c:v>
                </c:pt>
                <c:pt idx="2">
                  <c:v>0.054540948175338694</c:v>
                </c:pt>
                <c:pt idx="3">
                  <c:v>0.11182032608865153</c:v>
                </c:pt>
                <c:pt idx="4">
                  <c:v>0.04542819927110595</c:v>
                </c:pt>
                <c:pt idx="5">
                  <c:v>0.00333086471878073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58902574519089</c:v>
                </c:pt>
                <c:pt idx="2">
                  <c:v>0.014874806686765859</c:v>
                </c:pt>
                <c:pt idx="3">
                  <c:v>0.03015979058952645</c:v>
                </c:pt>
                <c:pt idx="4">
                  <c:v>0.08133591080828778</c:v>
                </c:pt>
                <c:pt idx="5">
                  <c:v>0.015360097812267036</c:v>
                </c:pt>
                <c:pt idx="6">
                  <c:v>0.00424548600412126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12973106886513</c:v>
                </c:pt>
                <c:pt idx="1">
                  <c:v>0.029687248740982775</c:v>
                </c:pt>
                <c:pt idx="2">
                  <c:v>0.12761672668444915</c:v>
                </c:pt>
                <c:pt idx="3">
                  <c:v>0.25473659732550125</c:v>
                </c:pt>
                <c:pt idx="4">
                  <c:v>0.39683477834621467</c:v>
                </c:pt>
                <c:pt idx="5">
                  <c:v>0.17961729434078058</c:v>
                </c:pt>
                <c:pt idx="6">
                  <c:v>0.004294381455185054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729246635819377</c:v>
                </c:pt>
                <c:pt idx="4">
                  <c:v>0.02702777046810201</c:v>
                </c:pt>
                <c:pt idx="5">
                  <c:v>0.00266145801033181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58902574519089</c:v>
                </c:pt>
                <c:pt idx="2">
                  <c:v>0.014874806686765859</c:v>
                </c:pt>
                <c:pt idx="3">
                  <c:v>0.03015979058952645</c:v>
                </c:pt>
                <c:pt idx="4">
                  <c:v>0.08133591080828778</c:v>
                </c:pt>
                <c:pt idx="5">
                  <c:v>0.015360097812267036</c:v>
                </c:pt>
                <c:pt idx="6">
                  <c:v>0.00424548600412126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58902574519089</c:v>
                </c:pt>
                <c:pt idx="2">
                  <c:v>0.014874806686765859</c:v>
                </c:pt>
                <c:pt idx="3">
                  <c:v>0.03015979058952645</c:v>
                </c:pt>
                <c:pt idx="4">
                  <c:v>0.08133591080828778</c:v>
                </c:pt>
                <c:pt idx="5">
                  <c:v>0.015360097812267036</c:v>
                </c:pt>
                <c:pt idx="6">
                  <c:v>0.00424548600412126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58902574519089</c:v>
                </c:pt>
                <c:pt idx="2">
                  <c:v>0.014874806686765859</c:v>
                </c:pt>
                <c:pt idx="3">
                  <c:v>0.03015979058952645</c:v>
                </c:pt>
                <c:pt idx="4">
                  <c:v>0.08133591080828778</c:v>
                </c:pt>
                <c:pt idx="5">
                  <c:v>0.015360097812267036</c:v>
                </c:pt>
                <c:pt idx="6">
                  <c:v>0.00424548600412126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586891112466138</c:v>
                </c:pt>
                <c:pt idx="1">
                  <c:v>0.049937524365497456</c:v>
                </c:pt>
                <c:pt idx="2">
                  <c:v>0.0036831885564629794</c:v>
                </c:pt>
                <c:pt idx="3">
                  <c:v>0.44236697687901716</c:v>
                </c:pt>
                <c:pt idx="4">
                  <c:v>0.48682638770879355</c:v>
                </c:pt>
                <c:pt idx="5">
                  <c:v>0.0154272333789821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586891112466138</c:v>
                </c:pt>
                <c:pt idx="1">
                  <c:v>0.049937524365497456</c:v>
                </c:pt>
                <c:pt idx="2">
                  <c:v>0.0036831885564629794</c:v>
                </c:pt>
                <c:pt idx="3">
                  <c:v>0.44236697687901716</c:v>
                </c:pt>
                <c:pt idx="4">
                  <c:v>0.48682638770879355</c:v>
                </c:pt>
                <c:pt idx="5">
                  <c:v>0.0154272333789821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4762365277406</c:v>
                </c:pt>
                <c:pt idx="4">
                  <c:v>0.022392250263764745</c:v>
                </c:pt>
                <c:pt idx="5">
                  <c:v>0.48755572297648175</c:v>
                </c:pt>
                <c:pt idx="6">
                  <c:v>0.003995413378428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4762365277406</c:v>
                </c:pt>
                <c:pt idx="4">
                  <c:v>0.022392250263764745</c:v>
                </c:pt>
                <c:pt idx="5">
                  <c:v>0.48755572297648175</c:v>
                </c:pt>
                <c:pt idx="6">
                  <c:v>0.003995413378428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4762365277406</c:v>
                </c:pt>
                <c:pt idx="4">
                  <c:v>0.022392250263764745</c:v>
                </c:pt>
                <c:pt idx="5">
                  <c:v>0.48755572297648175</c:v>
                </c:pt>
                <c:pt idx="6">
                  <c:v>0.003995413378428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224311620665</c:v>
                </c:pt>
                <c:pt idx="1">
                  <c:v>0.035024228602596755</c:v>
                </c:pt>
                <c:pt idx="2">
                  <c:v>0.12071333981810423</c:v>
                </c:pt>
                <c:pt idx="3">
                  <c:v>0.2439138491360212</c:v>
                </c:pt>
                <c:pt idx="4">
                  <c:v>0.4069563476723371</c:v>
                </c:pt>
                <c:pt idx="5">
                  <c:v>0.18782239145357107</c:v>
                </c:pt>
                <c:pt idx="6">
                  <c:v>0.000647412155303103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5851522175099</c:v>
                </c:pt>
                <c:pt idx="2">
                  <c:v>0.022121900771998968</c:v>
                </c:pt>
                <c:pt idx="3">
                  <c:v>0.01772019847931981</c:v>
                </c:pt>
                <c:pt idx="4">
                  <c:v>0.03507255613822629</c:v>
                </c:pt>
                <c:pt idx="5">
                  <c:v>0.0189939410980576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866504780694911</c:v>
                </c:pt>
                <c:pt idx="2">
                  <c:v>0.006115678928999946</c:v>
                </c:pt>
                <c:pt idx="3">
                  <c:v>0.004506877605344856</c:v>
                </c:pt>
                <c:pt idx="4">
                  <c:v>0.0069227904018521035</c:v>
                </c:pt>
                <c:pt idx="5">
                  <c:v>0.001311800928158303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780414057786138</c:v>
                </c:pt>
                <c:pt idx="2">
                  <c:v>0.005670804292260165</c:v>
                </c:pt>
                <c:pt idx="3">
                  <c:v>0.041902264845599994</c:v>
                </c:pt>
                <c:pt idx="4">
                  <c:v>0.0743069805075159</c:v>
                </c:pt>
                <c:pt idx="5">
                  <c:v>0.00781089072045634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442208731457829</c:v>
                </c:pt>
                <c:pt idx="1">
                  <c:v>0.003177139772334225</c:v>
                </c:pt>
                <c:pt idx="2">
                  <c:v>0.03322465635765009</c:v>
                </c:pt>
                <c:pt idx="3">
                  <c:v>0.043946220205462946</c:v>
                </c:pt>
                <c:pt idx="4">
                  <c:v>0.1321829082243024</c:v>
                </c:pt>
                <c:pt idx="5">
                  <c:v>0.132323781140108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8316840614400923</c:v>
                </c:pt>
                <c:pt idx="1">
                  <c:v>0.015119805105014095</c:v>
                </c:pt>
                <c:pt idx="2">
                  <c:v>0.0484121594089476</c:v>
                </c:pt>
                <c:pt idx="3">
                  <c:v>0.1110413484445374</c:v>
                </c:pt>
                <c:pt idx="4">
                  <c:v>0.047236720046883195</c:v>
                </c:pt>
                <c:pt idx="5">
                  <c:v>0.00216632581699843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10959301589941</c:v>
                </c:pt>
                <c:pt idx="3">
                  <c:v>0.0282477958344005</c:v>
                </c:pt>
                <c:pt idx="4">
                  <c:v>0.09029155510482789</c:v>
                </c:pt>
                <c:pt idx="5">
                  <c:v>0.024324216587309693</c:v>
                </c:pt>
                <c:pt idx="6">
                  <c:v>0.00059670006010352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224311620665</c:v>
                </c:pt>
                <c:pt idx="1">
                  <c:v>0.035024228602596755</c:v>
                </c:pt>
                <c:pt idx="2">
                  <c:v>0.12071333981810423</c:v>
                </c:pt>
                <c:pt idx="3">
                  <c:v>0.2439138491360212</c:v>
                </c:pt>
                <c:pt idx="4">
                  <c:v>0.4069563476723371</c:v>
                </c:pt>
                <c:pt idx="5">
                  <c:v>0.18782239145357107</c:v>
                </c:pt>
                <c:pt idx="6">
                  <c:v>0.000647412155303103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560213267005552</c:v>
                </c:pt>
                <c:pt idx="4">
                  <c:v>0.027865627650581468</c:v>
                </c:pt>
                <c:pt idx="5">
                  <c:v>0.002203236090640114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10959301589941</c:v>
                </c:pt>
                <c:pt idx="3">
                  <c:v>0.0282477958344005</c:v>
                </c:pt>
                <c:pt idx="4">
                  <c:v>0.09029155510482789</c:v>
                </c:pt>
                <c:pt idx="5">
                  <c:v>0.024324216587309693</c:v>
                </c:pt>
                <c:pt idx="6">
                  <c:v>0.000596700060103520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10959301589941</c:v>
                </c:pt>
                <c:pt idx="3">
                  <c:v>0.0282477958344005</c:v>
                </c:pt>
                <c:pt idx="4">
                  <c:v>0.09029155510482789</c:v>
                </c:pt>
                <c:pt idx="5">
                  <c:v>0.024324216587309693</c:v>
                </c:pt>
                <c:pt idx="6">
                  <c:v>0.000596700060103520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10959301589941</c:v>
                </c:pt>
                <c:pt idx="3">
                  <c:v>0.0282477958344005</c:v>
                </c:pt>
                <c:pt idx="4">
                  <c:v>0.09029155510482789</c:v>
                </c:pt>
                <c:pt idx="5">
                  <c:v>0.024324216587309693</c:v>
                </c:pt>
                <c:pt idx="6">
                  <c:v>0.00059670006010352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67417367305052</c:v>
                </c:pt>
                <c:pt idx="1">
                  <c:v>0.049921609106733524</c:v>
                </c:pt>
                <c:pt idx="2">
                  <c:v>0.00368559606057033</c:v>
                </c:pt>
                <c:pt idx="3">
                  <c:v>0.442287515213529</c:v>
                </c:pt>
                <c:pt idx="4">
                  <c:v>0.48691224316865084</c:v>
                </c:pt>
                <c:pt idx="5">
                  <c:v>0.01542561908321125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67417367305052</c:v>
                </c:pt>
                <c:pt idx="1">
                  <c:v>0.049921609106733524</c:v>
                </c:pt>
                <c:pt idx="2">
                  <c:v>0.00368559606057033</c:v>
                </c:pt>
                <c:pt idx="3">
                  <c:v>0.442287515213529</c:v>
                </c:pt>
                <c:pt idx="4">
                  <c:v>0.48691224316865084</c:v>
                </c:pt>
                <c:pt idx="5">
                  <c:v>0.01542561908321125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224311620665</c:v>
                </c:pt>
                <c:pt idx="1">
                  <c:v>0.035024228602596755</c:v>
                </c:pt>
                <c:pt idx="2">
                  <c:v>0.12071333981810423</c:v>
                </c:pt>
                <c:pt idx="3">
                  <c:v>0.2439138491360212</c:v>
                </c:pt>
                <c:pt idx="4">
                  <c:v>0.4069563476723371</c:v>
                </c:pt>
                <c:pt idx="5">
                  <c:v>0.18782239145357107</c:v>
                </c:pt>
                <c:pt idx="6">
                  <c:v>0.000647412155303103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5</c:v>
                </c:pt>
                <c:pt idx="5">
                  <c:v>0.4916116822395893</c:v>
                </c:pt>
                <c:pt idx="6">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5851522175099</c:v>
                </c:pt>
                <c:pt idx="2">
                  <c:v>0.022121900771998968</c:v>
                </c:pt>
                <c:pt idx="3">
                  <c:v>0.01772019847931981</c:v>
                </c:pt>
                <c:pt idx="4">
                  <c:v>0.03507255613822629</c:v>
                </c:pt>
                <c:pt idx="5">
                  <c:v>0.0189939410980576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5</c:v>
                </c:pt>
                <c:pt idx="5">
                  <c:v>0.4916116822395893</c:v>
                </c:pt>
                <c:pt idx="6">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38343293143894</c:v>
                </c:pt>
                <c:pt idx="3">
                  <c:v>0.0027907734094205897</c:v>
                </c:pt>
                <c:pt idx="4">
                  <c:v>0.009292136189446907</c:v>
                </c:pt>
                <c:pt idx="5">
                  <c:v>0.004105578313236029</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780414057786138</c:v>
                </c:pt>
                <c:pt idx="2">
                  <c:v>0.005670804292260165</c:v>
                </c:pt>
                <c:pt idx="3">
                  <c:v>0.041902264845599994</c:v>
                </c:pt>
                <c:pt idx="4">
                  <c:v>0.0743069805075159</c:v>
                </c:pt>
                <c:pt idx="5">
                  <c:v>0.00781089072045634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1</c:v>
                </c:pt>
                <c:pt idx="1">
                  <c:v>0.033746952717115544</c:v>
                </c:pt>
                <c:pt idx="2">
                  <c:v>0.1192322273957106</c:v>
                </c:pt>
                <c:pt idx="3">
                  <c:v>0.22555260391768006</c:v>
                </c:pt>
                <c:pt idx="4">
                  <c:v>0.4248321911184583</c:v>
                </c:pt>
                <c:pt idx="5">
                  <c:v>0.1921441325302992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6003173376260813</c:v>
                </c:pt>
                <c:pt idx="2">
                  <c:v>0.025654388975176457</c:v>
                </c:pt>
                <c:pt idx="3">
                  <c:v>0.012781674413679545</c:v>
                </c:pt>
                <c:pt idx="4">
                  <c:v>0.02934478458344407</c:v>
                </c:pt>
                <c:pt idx="5">
                  <c:v>0.025107183651282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0098768442806877</c:v>
                </c:pt>
                <c:pt idx="2">
                  <c:v>0.008479239880879232</c:v>
                </c:pt>
                <c:pt idx="3">
                  <c:v>0.0009400241152511937</c:v>
                </c:pt>
                <c:pt idx="4">
                  <c:v>0.009185874751290178</c:v>
                </c:pt>
                <c:pt idx="5">
                  <c:v>0.001643238389048437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309779432539336</c:v>
                </c:pt>
                <c:pt idx="2">
                  <c:v>0.006490863744179826</c:v>
                </c:pt>
                <c:pt idx="3">
                  <c:v>0.03290766269344465</c:v>
                </c:pt>
                <c:pt idx="4">
                  <c:v>0.0803559931619795</c:v>
                </c:pt>
                <c:pt idx="5">
                  <c:v>0.00760501830997145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989003417333752</c:v>
                </c:pt>
                <c:pt idx="1">
                  <c:v>0.0009573028602010366</c:v>
                </c:pt>
                <c:pt idx="2">
                  <c:v>0.031136469654783294</c:v>
                </c:pt>
                <c:pt idx="3">
                  <c:v>0.04669605609627021</c:v>
                </c:pt>
                <c:pt idx="4">
                  <c:v>0.15538116451674433</c:v>
                </c:pt>
                <c:pt idx="5">
                  <c:v>0.124844894646435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3305344230185403</c:v>
                </c:pt>
                <c:pt idx="1">
                  <c:v>0.010100016802835855</c:v>
                </c:pt>
                <c:pt idx="2">
                  <c:v>0.04209567813431521</c:v>
                </c:pt>
                <c:pt idx="3">
                  <c:v>0.1108136704310415</c:v>
                </c:pt>
                <c:pt idx="4">
                  <c:v>0.05119204051414118</c:v>
                </c:pt>
                <c:pt idx="5">
                  <c:v>0.0025822890538799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643602554002264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1</c:v>
                </c:pt>
                <c:pt idx="1">
                  <c:v>0.033746952717115544</c:v>
                </c:pt>
                <c:pt idx="2">
                  <c:v>0.1192322273957106</c:v>
                </c:pt>
                <c:pt idx="3">
                  <c:v>0.22555260391768006</c:v>
                </c:pt>
                <c:pt idx="4">
                  <c:v>0.4248321911184583</c:v>
                </c:pt>
                <c:pt idx="5">
                  <c:v>0.1921441325302992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9209156440494895</c:v>
                </c:pt>
                <c:pt idx="4">
                  <c:v>0.024329626608394724</c:v>
                </c:pt>
                <c:pt idx="5">
                  <c:v>0.0032205345255913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442208731457829</c:v>
                </c:pt>
                <c:pt idx="1">
                  <c:v>0.003177139772334225</c:v>
                </c:pt>
                <c:pt idx="2">
                  <c:v>0.03322465635765009</c:v>
                </c:pt>
                <c:pt idx="3">
                  <c:v>0.043946220205462946</c:v>
                </c:pt>
                <c:pt idx="4">
                  <c:v>0.1321829082243024</c:v>
                </c:pt>
                <c:pt idx="5">
                  <c:v>0.132323781140108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7642752446729</c:v>
                </c:pt>
                <c:pt idx="4">
                  <c:v>0.025567123997860344</c:v>
                </c:pt>
                <c:pt idx="5">
                  <c:v>0.4786686007574667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7642752446729</c:v>
                </c:pt>
                <c:pt idx="4">
                  <c:v>0.025567123997860344</c:v>
                </c:pt>
                <c:pt idx="5">
                  <c:v>0.4786686007574667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8316840614400923</c:v>
                </c:pt>
                <c:pt idx="1">
                  <c:v>0.015119805105014095</c:v>
                </c:pt>
                <c:pt idx="2">
                  <c:v>0.0484121594089476</c:v>
                </c:pt>
                <c:pt idx="3">
                  <c:v>0.1110413484445374</c:v>
                </c:pt>
                <c:pt idx="4">
                  <c:v>0.047236720046883195</c:v>
                </c:pt>
                <c:pt idx="5">
                  <c:v>0.00216632581699843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12973106886513</c:v>
                </c:pt>
                <c:pt idx="1">
                  <c:v>0.029687248740982775</c:v>
                </c:pt>
                <c:pt idx="2">
                  <c:v>0.12761672668444915</c:v>
                </c:pt>
                <c:pt idx="3">
                  <c:v>0.25473659732550125</c:v>
                </c:pt>
                <c:pt idx="4">
                  <c:v>0.39683477834621467</c:v>
                </c:pt>
                <c:pt idx="5">
                  <c:v>0.17961729434078058</c:v>
                </c:pt>
                <c:pt idx="6">
                  <c:v>0.004294381455185054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94501430757998</c:v>
                </c:pt>
                <c:pt idx="2">
                  <c:v>0.02019369356434729</c:v>
                </c:pt>
                <c:pt idx="3">
                  <c:v>0.02430781440921656</c:v>
                </c:pt>
                <c:pt idx="4">
                  <c:v>0.037915107255730794</c:v>
                </c:pt>
                <c:pt idx="5">
                  <c:v>0.02120300551780114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94501430757998</c:v>
                </c:pt>
                <c:pt idx="2">
                  <c:v>0.008513550304275195</c:v>
                </c:pt>
                <c:pt idx="3">
                  <c:v>0.003223941479378956</c:v>
                </c:pt>
                <c:pt idx="4">
                  <c:v>0.010741776736682298</c:v>
                </c:pt>
                <c:pt idx="5">
                  <c:v>0.000678248761639390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0371959226326035</c:v>
                </c:pt>
                <c:pt idx="2">
                  <c:v>0.010847927820421347</c:v>
                </c:pt>
                <c:pt idx="3">
                  <c:v>0.04441322097233766</c:v>
                </c:pt>
                <c:pt idx="4">
                  <c:v>0.08354976817855016</c:v>
                </c:pt>
                <c:pt idx="5">
                  <c:v>0.007533545431914907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27147907438995263</c:v>
                </c:pt>
                <c:pt idx="3">
                  <c:v>0.04256252060218713</c:v>
                </c:pt>
                <c:pt idx="4">
                  <c:v>0.12157802236443795</c:v>
                </c:pt>
                <c:pt idx="5">
                  <c:v>0.1295283228496849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044950873540862</c:v>
                </c:pt>
                <c:pt idx="1">
                  <c:v>0.016257894232114475</c:v>
                </c:pt>
                <c:pt idx="2">
                  <c:v>0.054540948175338694</c:v>
                </c:pt>
                <c:pt idx="3">
                  <c:v>0.11182032608865153</c:v>
                </c:pt>
                <c:pt idx="4">
                  <c:v>0.04542819927110595</c:v>
                </c:pt>
                <c:pt idx="5">
                  <c:v>0.00333086471878073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58902574519089</c:v>
                </c:pt>
                <c:pt idx="2">
                  <c:v>0.014874806686765859</c:v>
                </c:pt>
                <c:pt idx="3">
                  <c:v>0.03015979058952645</c:v>
                </c:pt>
                <c:pt idx="4">
                  <c:v>0.08133591080828778</c:v>
                </c:pt>
                <c:pt idx="5">
                  <c:v>0.015360097812267036</c:v>
                </c:pt>
                <c:pt idx="6">
                  <c:v>0.00424548600412126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10959301589941</c:v>
                </c:pt>
                <c:pt idx="3">
                  <c:v>0.0282477958344005</c:v>
                </c:pt>
                <c:pt idx="4">
                  <c:v>0.09029155510482789</c:v>
                </c:pt>
                <c:pt idx="5">
                  <c:v>0.024324216587309693</c:v>
                </c:pt>
                <c:pt idx="6">
                  <c:v>0.00059670006010352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12973106886513</c:v>
                </c:pt>
                <c:pt idx="1">
                  <c:v>0.029687248740982775</c:v>
                </c:pt>
                <c:pt idx="2">
                  <c:v>0.12761672668444915</c:v>
                </c:pt>
                <c:pt idx="3">
                  <c:v>0.25473659732550125</c:v>
                </c:pt>
                <c:pt idx="4">
                  <c:v>0.39683477834621467</c:v>
                </c:pt>
                <c:pt idx="5">
                  <c:v>0.17961729434078058</c:v>
                </c:pt>
                <c:pt idx="6">
                  <c:v>0.004294381455185054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729246635819377</c:v>
                </c:pt>
                <c:pt idx="4">
                  <c:v>0.02702777046810201</c:v>
                </c:pt>
                <c:pt idx="5">
                  <c:v>0.00266145801033181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58902574519089</c:v>
                </c:pt>
                <c:pt idx="2">
                  <c:v>0.014874806686765859</c:v>
                </c:pt>
                <c:pt idx="3">
                  <c:v>0.03015979058952645</c:v>
                </c:pt>
                <c:pt idx="4">
                  <c:v>0.08133591080828778</c:v>
                </c:pt>
                <c:pt idx="5">
                  <c:v>0.015360097812267036</c:v>
                </c:pt>
                <c:pt idx="6">
                  <c:v>0.00424548600412126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58902574519089</c:v>
                </c:pt>
                <c:pt idx="2">
                  <c:v>0.014874806686765859</c:v>
                </c:pt>
                <c:pt idx="3">
                  <c:v>0.03015979058952645</c:v>
                </c:pt>
                <c:pt idx="4">
                  <c:v>0.08133591080828778</c:v>
                </c:pt>
                <c:pt idx="5">
                  <c:v>0.015360097812267036</c:v>
                </c:pt>
                <c:pt idx="6">
                  <c:v>0.00424548600412126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58902574519089</c:v>
                </c:pt>
                <c:pt idx="2">
                  <c:v>0.014874806686765859</c:v>
                </c:pt>
                <c:pt idx="3">
                  <c:v>0.03015979058952645</c:v>
                </c:pt>
                <c:pt idx="4">
                  <c:v>0.08133591080828778</c:v>
                </c:pt>
                <c:pt idx="5">
                  <c:v>0.015360097812267036</c:v>
                </c:pt>
                <c:pt idx="6">
                  <c:v>0.00424548600412126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586891112466138</c:v>
                </c:pt>
                <c:pt idx="1">
                  <c:v>0.049937524365497456</c:v>
                </c:pt>
                <c:pt idx="2">
                  <c:v>0.0036831885564629794</c:v>
                </c:pt>
                <c:pt idx="3">
                  <c:v>0.44236697687901716</c:v>
                </c:pt>
                <c:pt idx="4">
                  <c:v>0.48682638770879355</c:v>
                </c:pt>
                <c:pt idx="5">
                  <c:v>0.0154272333789821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586891112466138</c:v>
                </c:pt>
                <c:pt idx="1">
                  <c:v>0.049937524365497456</c:v>
                </c:pt>
                <c:pt idx="2">
                  <c:v>0.0036831885564629794</c:v>
                </c:pt>
                <c:pt idx="3">
                  <c:v>0.44236697687901716</c:v>
                </c:pt>
                <c:pt idx="4">
                  <c:v>0.48682638770879355</c:v>
                </c:pt>
                <c:pt idx="5">
                  <c:v>0.0154272333789821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224311620665</c:v>
                </c:pt>
                <c:pt idx="1">
                  <c:v>0.035024228602596755</c:v>
                </c:pt>
                <c:pt idx="2">
                  <c:v>0.12071333981810423</c:v>
                </c:pt>
                <c:pt idx="3">
                  <c:v>0.2439138491360212</c:v>
                </c:pt>
                <c:pt idx="4">
                  <c:v>0.4069563476723371</c:v>
                </c:pt>
                <c:pt idx="5">
                  <c:v>0.18782239145357107</c:v>
                </c:pt>
                <c:pt idx="6">
                  <c:v>0.000647412155303103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4762365277406</c:v>
                </c:pt>
                <c:pt idx="4">
                  <c:v>0.022392250263764745</c:v>
                </c:pt>
                <c:pt idx="5">
                  <c:v>0.48755572297648175</c:v>
                </c:pt>
                <c:pt idx="6">
                  <c:v>0.003995413378428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560213267005552</c:v>
                </c:pt>
                <c:pt idx="4">
                  <c:v>0.027865627650581468</c:v>
                </c:pt>
                <c:pt idx="5">
                  <c:v>0.002203236090640114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4762365277406</c:v>
                </c:pt>
                <c:pt idx="4">
                  <c:v>0.022392250263764745</c:v>
                </c:pt>
                <c:pt idx="5">
                  <c:v>0.48755572297648175</c:v>
                </c:pt>
                <c:pt idx="6">
                  <c:v>0.003995413378428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224311620665</c:v>
                </c:pt>
                <c:pt idx="1">
                  <c:v>0.035024228602596755</c:v>
                </c:pt>
                <c:pt idx="2">
                  <c:v>0.12071333981810423</c:v>
                </c:pt>
                <c:pt idx="3">
                  <c:v>0.2439138491360212</c:v>
                </c:pt>
                <c:pt idx="4">
                  <c:v>0.4069563476723371</c:v>
                </c:pt>
                <c:pt idx="5">
                  <c:v>0.18782239145357107</c:v>
                </c:pt>
                <c:pt idx="6">
                  <c:v>0.000647412155303103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5851522175099</c:v>
                </c:pt>
                <c:pt idx="2">
                  <c:v>0.022121900771998968</c:v>
                </c:pt>
                <c:pt idx="3">
                  <c:v>0.01772019847931981</c:v>
                </c:pt>
                <c:pt idx="4">
                  <c:v>0.03507255613822629</c:v>
                </c:pt>
                <c:pt idx="5">
                  <c:v>0.0189939410980576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780414057786138</c:v>
                </c:pt>
                <c:pt idx="2">
                  <c:v>0.005670804292260165</c:v>
                </c:pt>
                <c:pt idx="3">
                  <c:v>0.041902264845599994</c:v>
                </c:pt>
                <c:pt idx="4">
                  <c:v>0.0743069805075159</c:v>
                </c:pt>
                <c:pt idx="5">
                  <c:v>0.00781089072045634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5255679109854054</c:v>
                </c:pt>
                <c:pt idx="4">
                  <c:v>0.008094831054777785</c:v>
                </c:pt>
                <c:pt idx="5">
                  <c:v>0.001920406857970547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442208731457829</c:v>
                </c:pt>
                <c:pt idx="1">
                  <c:v>0.003177139772334225</c:v>
                </c:pt>
                <c:pt idx="2">
                  <c:v>0.03322465635765009</c:v>
                </c:pt>
                <c:pt idx="3">
                  <c:v>0.043946220205462946</c:v>
                </c:pt>
                <c:pt idx="4">
                  <c:v>0.1321829082243024</c:v>
                </c:pt>
                <c:pt idx="5">
                  <c:v>0.132323781140108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363041307564614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8316840614400923</c:v>
                </c:pt>
                <c:pt idx="1">
                  <c:v>0.015119805105014095</c:v>
                </c:pt>
                <c:pt idx="2">
                  <c:v>0.0484121594089476</c:v>
                </c:pt>
                <c:pt idx="3">
                  <c:v>0.1110413484445374</c:v>
                </c:pt>
                <c:pt idx="4">
                  <c:v>0.047236720046883195</c:v>
                </c:pt>
                <c:pt idx="5">
                  <c:v>0.00216632581699843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10959301589941</c:v>
                </c:pt>
                <c:pt idx="3">
                  <c:v>0.0282477958344005</c:v>
                </c:pt>
                <c:pt idx="4">
                  <c:v>0.09029155510482789</c:v>
                </c:pt>
                <c:pt idx="5">
                  <c:v>0.024324216587309693</c:v>
                </c:pt>
                <c:pt idx="6">
                  <c:v>0.00059670006010352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224311620665</c:v>
                </c:pt>
                <c:pt idx="1">
                  <c:v>0.035024228602596755</c:v>
                </c:pt>
                <c:pt idx="2">
                  <c:v>0.12071333981810423</c:v>
                </c:pt>
                <c:pt idx="3">
                  <c:v>0.2439138491360212</c:v>
                </c:pt>
                <c:pt idx="4">
                  <c:v>0.4069563476723371</c:v>
                </c:pt>
                <c:pt idx="5">
                  <c:v>0.18782239145357107</c:v>
                </c:pt>
                <c:pt idx="6">
                  <c:v>0.000647412155303103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560213267005552</c:v>
                </c:pt>
                <c:pt idx="4">
                  <c:v>0.027865627650581468</c:v>
                </c:pt>
                <c:pt idx="5">
                  <c:v>0.002203236090640114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10959301589941</c:v>
                </c:pt>
                <c:pt idx="3">
                  <c:v>0.0282477958344005</c:v>
                </c:pt>
                <c:pt idx="4">
                  <c:v>0.09029155510482789</c:v>
                </c:pt>
                <c:pt idx="5">
                  <c:v>0.024324216587309693</c:v>
                </c:pt>
                <c:pt idx="6">
                  <c:v>0.000596700060103520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10959301589941</c:v>
                </c:pt>
                <c:pt idx="3">
                  <c:v>0.0282477958344005</c:v>
                </c:pt>
                <c:pt idx="4">
                  <c:v>0.09029155510482789</c:v>
                </c:pt>
                <c:pt idx="5">
                  <c:v>0.024324216587309693</c:v>
                </c:pt>
                <c:pt idx="6">
                  <c:v>0.000596700060103520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10959301589941</c:v>
                </c:pt>
                <c:pt idx="3">
                  <c:v>0.0282477958344005</c:v>
                </c:pt>
                <c:pt idx="4">
                  <c:v>0.09029155510482789</c:v>
                </c:pt>
                <c:pt idx="5">
                  <c:v>0.024324216587309693</c:v>
                </c:pt>
                <c:pt idx="6">
                  <c:v>0.000596700060103520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10959301589941</c:v>
                </c:pt>
                <c:pt idx="3">
                  <c:v>0.0282477958344005</c:v>
                </c:pt>
                <c:pt idx="4">
                  <c:v>0.09029155510482789</c:v>
                </c:pt>
                <c:pt idx="5">
                  <c:v>0.024324216587309693</c:v>
                </c:pt>
                <c:pt idx="6">
                  <c:v>0.00059670006010352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67417367305052</c:v>
                </c:pt>
                <c:pt idx="1">
                  <c:v>0.049921609106733524</c:v>
                </c:pt>
                <c:pt idx="2">
                  <c:v>0.00368559606057033</c:v>
                </c:pt>
                <c:pt idx="3">
                  <c:v>0.442287515213529</c:v>
                </c:pt>
                <c:pt idx="4">
                  <c:v>0.48691224316865084</c:v>
                </c:pt>
                <c:pt idx="5">
                  <c:v>0.01542561908321125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67417367305052</c:v>
                </c:pt>
                <c:pt idx="1">
                  <c:v>0.049921609106733524</c:v>
                </c:pt>
                <c:pt idx="2">
                  <c:v>0.00368559606057033</c:v>
                </c:pt>
                <c:pt idx="3">
                  <c:v>0.442287515213529</c:v>
                </c:pt>
                <c:pt idx="4">
                  <c:v>0.48691224316865084</c:v>
                </c:pt>
                <c:pt idx="5">
                  <c:v>0.01542561908321125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10959301589941</c:v>
                </c:pt>
                <c:pt idx="3">
                  <c:v>0.0282477958344005</c:v>
                </c:pt>
                <c:pt idx="4">
                  <c:v>0.09029155510482789</c:v>
                </c:pt>
                <c:pt idx="5">
                  <c:v>0.024324216587309693</c:v>
                </c:pt>
                <c:pt idx="6">
                  <c:v>0.000596700060103520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5</c:v>
                </c:pt>
                <c:pt idx="5">
                  <c:v>0.4916116822395893</c:v>
                </c:pt>
                <c:pt idx="6">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10959301589941</c:v>
                </c:pt>
                <c:pt idx="3">
                  <c:v>0.0282477958344005</c:v>
                </c:pt>
                <c:pt idx="4">
                  <c:v>0.09029155510482789</c:v>
                </c:pt>
                <c:pt idx="5">
                  <c:v>0.024324216587309693</c:v>
                </c:pt>
                <c:pt idx="6">
                  <c:v>0.00059670006010352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5</c:v>
                </c:pt>
                <c:pt idx="5">
                  <c:v>0.4916116822395893</c:v>
                </c:pt>
                <c:pt idx="6">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1</c:v>
                </c:pt>
                <c:pt idx="1">
                  <c:v>0.033746952717115544</c:v>
                </c:pt>
                <c:pt idx="2">
                  <c:v>0.1192322273957106</c:v>
                </c:pt>
                <c:pt idx="3">
                  <c:v>0.22555260391768006</c:v>
                </c:pt>
                <c:pt idx="4">
                  <c:v>0.4248321911184583</c:v>
                </c:pt>
                <c:pt idx="5">
                  <c:v>0.1921441325302992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6003173376260813</c:v>
                </c:pt>
                <c:pt idx="2">
                  <c:v>0.025654388975176457</c:v>
                </c:pt>
                <c:pt idx="3">
                  <c:v>0.012781674413679545</c:v>
                </c:pt>
                <c:pt idx="4">
                  <c:v>0.02934478458344407</c:v>
                </c:pt>
                <c:pt idx="5">
                  <c:v>0.025107183651282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309779432539336</c:v>
                </c:pt>
                <c:pt idx="2">
                  <c:v>0.006490863744179826</c:v>
                </c:pt>
                <c:pt idx="3">
                  <c:v>0.03290766269344465</c:v>
                </c:pt>
                <c:pt idx="4">
                  <c:v>0.0803559931619795</c:v>
                </c:pt>
                <c:pt idx="5">
                  <c:v>0.00760501830997145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76399280447082</c:v>
                </c:pt>
                <c:pt idx="4">
                  <c:v>0.009166887961390938</c:v>
                </c:pt>
                <c:pt idx="5">
                  <c:v>0.00203864854147653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989003417333752</c:v>
                </c:pt>
                <c:pt idx="1">
                  <c:v>0.0009573028602010366</c:v>
                </c:pt>
                <c:pt idx="2">
                  <c:v>0.031136469654783294</c:v>
                </c:pt>
                <c:pt idx="3">
                  <c:v>0.04669605609627021</c:v>
                </c:pt>
                <c:pt idx="4">
                  <c:v>0.15538116451674433</c:v>
                </c:pt>
                <c:pt idx="5">
                  <c:v>0.124844894646435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581068779698237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3305344230185403</c:v>
                </c:pt>
                <c:pt idx="1">
                  <c:v>0.010100016802835855</c:v>
                </c:pt>
                <c:pt idx="2">
                  <c:v>0.04209567813431521</c:v>
                </c:pt>
                <c:pt idx="3">
                  <c:v>0.1108136704310415</c:v>
                </c:pt>
                <c:pt idx="4">
                  <c:v>0.05119204051414118</c:v>
                </c:pt>
                <c:pt idx="5">
                  <c:v>0.0025822890538799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1</c:v>
                </c:pt>
                <c:pt idx="1">
                  <c:v>0.033746952717115544</c:v>
                </c:pt>
                <c:pt idx="2">
                  <c:v>0.1192322273957106</c:v>
                </c:pt>
                <c:pt idx="3">
                  <c:v>0.22555260391768006</c:v>
                </c:pt>
                <c:pt idx="4">
                  <c:v>0.4248321911184583</c:v>
                </c:pt>
                <c:pt idx="5">
                  <c:v>0.1921441325302992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9209156440494895</c:v>
                </c:pt>
                <c:pt idx="4">
                  <c:v>0.024329626608394724</c:v>
                </c:pt>
                <c:pt idx="5">
                  <c:v>0.0032205345255913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67417367305052</c:v>
                </c:pt>
                <c:pt idx="1">
                  <c:v>0.049921609106733524</c:v>
                </c:pt>
                <c:pt idx="2">
                  <c:v>0.00368559606057033</c:v>
                </c:pt>
                <c:pt idx="3">
                  <c:v>0.442287515213529</c:v>
                </c:pt>
                <c:pt idx="4">
                  <c:v>0.48691224316865084</c:v>
                </c:pt>
                <c:pt idx="5">
                  <c:v>0.01542561908321125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7642752446729</c:v>
                </c:pt>
                <c:pt idx="4">
                  <c:v>0.025567123997860344</c:v>
                </c:pt>
                <c:pt idx="5">
                  <c:v>0.4786686007574667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7642752446729</c:v>
                </c:pt>
                <c:pt idx="4">
                  <c:v>0.025567123997860344</c:v>
                </c:pt>
                <c:pt idx="5">
                  <c:v>0.4786686007574667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12973106886513</c:v>
                </c:pt>
                <c:pt idx="1">
                  <c:v>0.029687248740982775</c:v>
                </c:pt>
                <c:pt idx="2">
                  <c:v>0.12761672668444915</c:v>
                </c:pt>
                <c:pt idx="3">
                  <c:v>0.25473659732550125</c:v>
                </c:pt>
                <c:pt idx="4">
                  <c:v>0.39683477834621467</c:v>
                </c:pt>
                <c:pt idx="5">
                  <c:v>0.17961729434078058</c:v>
                </c:pt>
                <c:pt idx="6">
                  <c:v>0.004294381455185054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94501430757998</c:v>
                </c:pt>
                <c:pt idx="2">
                  <c:v>0.02019369356434729</c:v>
                </c:pt>
                <c:pt idx="3">
                  <c:v>0.02430781440921656</c:v>
                </c:pt>
                <c:pt idx="4">
                  <c:v>0.037915107255730794</c:v>
                </c:pt>
                <c:pt idx="5">
                  <c:v>0.02120300551780114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0371959226326035</c:v>
                </c:pt>
                <c:pt idx="2">
                  <c:v>0.010847927820421347</c:v>
                </c:pt>
                <c:pt idx="3">
                  <c:v>0.04441322097233766</c:v>
                </c:pt>
                <c:pt idx="4">
                  <c:v>0.08354976817855016</c:v>
                </c:pt>
                <c:pt idx="5">
                  <c:v>0.007533545431914907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092500126360661</c:v>
                </c:pt>
                <c:pt idx="4">
                  <c:v>0.011738217493863482</c:v>
                </c:pt>
                <c:pt idx="5">
                  <c:v>0.003308141280706206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27147907438995263</c:v>
                </c:pt>
                <c:pt idx="3">
                  <c:v>0.04256252060218713</c:v>
                </c:pt>
                <c:pt idx="4">
                  <c:v>0.12157802236443795</c:v>
                </c:pt>
                <c:pt idx="5">
                  <c:v>0.1295283228496849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448277582552700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044950873540862</c:v>
                </c:pt>
                <c:pt idx="1">
                  <c:v>0.016257894232114475</c:v>
                </c:pt>
                <c:pt idx="2">
                  <c:v>0.054540948175338694</c:v>
                </c:pt>
                <c:pt idx="3">
                  <c:v>0.11182032608865153</c:v>
                </c:pt>
                <c:pt idx="4">
                  <c:v>0.04542819927110595</c:v>
                </c:pt>
                <c:pt idx="5">
                  <c:v>0.00333086471878073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58902574519089</c:v>
                </c:pt>
                <c:pt idx="2">
                  <c:v>0.014874806686765859</c:v>
                </c:pt>
                <c:pt idx="3">
                  <c:v>0.03015979058952645</c:v>
                </c:pt>
                <c:pt idx="4">
                  <c:v>0.08133591080828778</c:v>
                </c:pt>
                <c:pt idx="5">
                  <c:v>0.015360097812267036</c:v>
                </c:pt>
                <c:pt idx="6">
                  <c:v>0.00424548600412126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12973106886513</c:v>
                </c:pt>
                <c:pt idx="1">
                  <c:v>0.029687248740982775</c:v>
                </c:pt>
                <c:pt idx="2">
                  <c:v>0.12761672668444915</c:v>
                </c:pt>
                <c:pt idx="3">
                  <c:v>0.25473659732550125</c:v>
                </c:pt>
                <c:pt idx="4">
                  <c:v>0.39683477834621467</c:v>
                </c:pt>
                <c:pt idx="5">
                  <c:v>0.17961729434078058</c:v>
                </c:pt>
                <c:pt idx="6">
                  <c:v>0.004294381455185054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729246635819377</c:v>
                </c:pt>
                <c:pt idx="4">
                  <c:v>0.02702777046810201</c:v>
                </c:pt>
                <c:pt idx="5">
                  <c:v>0.00266145801033181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58902574519089</c:v>
                </c:pt>
                <c:pt idx="2">
                  <c:v>0.014874806686765859</c:v>
                </c:pt>
                <c:pt idx="3">
                  <c:v>0.03015979058952645</c:v>
                </c:pt>
                <c:pt idx="4">
                  <c:v>0.08133591080828778</c:v>
                </c:pt>
                <c:pt idx="5">
                  <c:v>0.015360097812267036</c:v>
                </c:pt>
                <c:pt idx="6">
                  <c:v>0.00424548600412126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58902574519089</c:v>
                </c:pt>
                <c:pt idx="2">
                  <c:v>0.014874806686765859</c:v>
                </c:pt>
                <c:pt idx="3">
                  <c:v>0.03015979058952645</c:v>
                </c:pt>
                <c:pt idx="4">
                  <c:v>0.08133591080828778</c:v>
                </c:pt>
                <c:pt idx="5">
                  <c:v>0.015360097812267036</c:v>
                </c:pt>
                <c:pt idx="6">
                  <c:v>0.00424548600412126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58902574519089</c:v>
                </c:pt>
                <c:pt idx="2">
                  <c:v>0.014874806686765859</c:v>
                </c:pt>
                <c:pt idx="3">
                  <c:v>0.03015979058952645</c:v>
                </c:pt>
                <c:pt idx="4">
                  <c:v>0.08133591080828778</c:v>
                </c:pt>
                <c:pt idx="5">
                  <c:v>0.015360097812267036</c:v>
                </c:pt>
                <c:pt idx="6">
                  <c:v>0.00424548600412126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586891112466138</c:v>
                </c:pt>
                <c:pt idx="1">
                  <c:v>0.049937524365497456</c:v>
                </c:pt>
                <c:pt idx="2">
                  <c:v>0.0036831885564629794</c:v>
                </c:pt>
                <c:pt idx="3">
                  <c:v>0.44236697687901716</c:v>
                </c:pt>
                <c:pt idx="4">
                  <c:v>0.48682638770879355</c:v>
                </c:pt>
                <c:pt idx="5">
                  <c:v>0.0154272333789821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586891112466138</c:v>
                </c:pt>
                <c:pt idx="1">
                  <c:v>0.049937524365497456</c:v>
                </c:pt>
                <c:pt idx="2">
                  <c:v>0.0036831885564629794</c:v>
                </c:pt>
                <c:pt idx="3">
                  <c:v>0.44236697687901716</c:v>
                </c:pt>
                <c:pt idx="4">
                  <c:v>0.48682638770879355</c:v>
                </c:pt>
                <c:pt idx="5">
                  <c:v>0.0154272333789821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67417367305052</c:v>
                </c:pt>
                <c:pt idx="1">
                  <c:v>0.049921609106733524</c:v>
                </c:pt>
                <c:pt idx="2">
                  <c:v>0.00368559606057033</c:v>
                </c:pt>
                <c:pt idx="3">
                  <c:v>0.442287515213529</c:v>
                </c:pt>
                <c:pt idx="4">
                  <c:v>0.48691224316865084</c:v>
                </c:pt>
                <c:pt idx="5">
                  <c:v>0.01542561908321125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5</c:v>
                </c:pt>
                <c:pt idx="5">
                  <c:v>0.4916116822395893</c:v>
                </c:pt>
                <c:pt idx="6">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5</c:v>
                </c:pt>
                <c:pt idx="5">
                  <c:v>0.4916116822395893</c:v>
                </c:pt>
                <c:pt idx="6">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1</c:v>
                </c:pt>
                <c:pt idx="1">
                  <c:v>0.033746952717115544</c:v>
                </c:pt>
                <c:pt idx="2">
                  <c:v>0.1192322273957106</c:v>
                </c:pt>
                <c:pt idx="3">
                  <c:v>0.22555260391768006</c:v>
                </c:pt>
                <c:pt idx="4">
                  <c:v>0.4248321911184583</c:v>
                </c:pt>
                <c:pt idx="5">
                  <c:v>0.1921441325302992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6003173376260813</c:v>
                </c:pt>
                <c:pt idx="2">
                  <c:v>0.025654388975176457</c:v>
                </c:pt>
                <c:pt idx="3">
                  <c:v>0.012781674413679545</c:v>
                </c:pt>
                <c:pt idx="4">
                  <c:v>0.02934478458344407</c:v>
                </c:pt>
                <c:pt idx="5">
                  <c:v>0.025107183651282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124122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90101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99897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51885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146449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71690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6492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496038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855894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947789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86473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29769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815951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208310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66310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041236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167662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399360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163158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350658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970376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008973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294655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400673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036349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571005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315205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905268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159968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012548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145519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012757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552409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807614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807126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824960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47391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22219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40504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423151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147746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090071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644850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222924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57034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33730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371259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33120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6672</Words>
  <Application>Microsoft Office PowerPoint</Application>
  <PresentationFormat>On-screen Show (16:9)</PresentationFormat>
  <Paragraphs>2016</Paragraphs>
  <Slides>48</Slides>
  <Notes>4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9"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